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5"/>
  </p:sldMasterIdLst>
  <p:notesMasterIdLst>
    <p:notesMasterId r:id="rId7"/>
  </p:notesMasterIdLst>
  <p:sldIdLst>
    <p:sldId id="307" r:id="rId6"/>
  </p:sldIdLst>
  <p:sldSz cx="12192000" cy="6858000"/>
  <p:notesSz cx="6858000" cy="9144000"/>
  <p:custDataLst>
    <p:tags r:id="rId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D7F98B-3771-DBDA-D8D6-DBE6DDC228D8}" name="Eniola Oladipo (NHS South East London ICB)" initials="EO(SELI" userId="S::Eniola.Oladipo@selondonics.nhs.uk::73f42505-09ec-4808-9784-20b0a771bd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EE00"/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1" autoAdjust="0"/>
    <p:restoredTop sz="94694"/>
  </p:normalViewPr>
  <p:slideViewPr>
    <p:cSldViewPr snapToGrid="0" snapToObjects="1">
      <p:cViewPr varScale="1">
        <p:scale>
          <a:sx n="88" d="100"/>
          <a:sy n="88" d="100"/>
        </p:scale>
        <p:origin x="76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5FF5DD-13EE-4482-AEED-1BFB5BDDAA72}" type="doc">
      <dgm:prSet loTypeId="urn:microsoft.com/office/officeart/2005/8/layout/hProcess11" loCatId="process" qsTypeId="urn:microsoft.com/office/officeart/2005/8/quickstyle/simple2" qsCatId="simple" csTypeId="urn:microsoft.com/office/officeart/2005/8/colors/colorful4" csCatId="colorful" phldr="1"/>
      <dgm:spPr/>
    </dgm:pt>
    <dgm:pt modelId="{61F65A5B-20F7-430C-9FF4-71B6EF9E2E8E}">
      <dgm:prSet phldrT="[Text]" custT="1"/>
      <dgm:spPr/>
      <dgm:t>
        <a:bodyPr/>
        <a:lstStyle/>
        <a:p>
          <a:r>
            <a:rPr lang="en-US" sz="1400" b="1" dirty="0"/>
            <a:t>ICB and Local Design Workshops </a:t>
          </a:r>
        </a:p>
        <a:p>
          <a:r>
            <a:rPr lang="en-US" sz="1400" b="1" dirty="0">
              <a:solidFill>
                <a:schemeClr val="accent2"/>
              </a:solidFill>
            </a:rPr>
            <a:t>July 23 – Dec 23</a:t>
          </a:r>
          <a:endParaRPr lang="en-GB" sz="1400" b="1" dirty="0">
            <a:solidFill>
              <a:schemeClr val="accent2"/>
            </a:solidFill>
          </a:endParaRPr>
        </a:p>
      </dgm:t>
    </dgm:pt>
    <dgm:pt modelId="{20499C42-C030-402A-93ED-95DFA82ECF3D}" type="parTrans" cxnId="{7009DCBC-AD50-4A95-AE42-F42A8431C535}">
      <dgm:prSet/>
      <dgm:spPr/>
      <dgm:t>
        <a:bodyPr/>
        <a:lstStyle/>
        <a:p>
          <a:endParaRPr lang="en-GB"/>
        </a:p>
      </dgm:t>
    </dgm:pt>
    <dgm:pt modelId="{137AD9AD-1F41-45EC-938D-9A058DA24850}" type="sibTrans" cxnId="{7009DCBC-AD50-4A95-AE42-F42A8431C535}">
      <dgm:prSet/>
      <dgm:spPr/>
      <dgm:t>
        <a:bodyPr/>
        <a:lstStyle/>
        <a:p>
          <a:endParaRPr lang="en-GB"/>
        </a:p>
      </dgm:t>
    </dgm:pt>
    <dgm:pt modelId="{155AA4D7-48A9-49CE-9993-92FA118368DE}">
      <dgm:prSet phldrT="[Text]" custT="1"/>
      <dgm:spPr/>
      <dgm:t>
        <a:bodyPr/>
        <a:lstStyle/>
        <a:p>
          <a:r>
            <a:rPr lang="en-US" sz="1400" b="1" dirty="0"/>
            <a:t>Mobilisation of New Service </a:t>
          </a:r>
        </a:p>
        <a:p>
          <a:r>
            <a:rPr lang="en-US" sz="1400" b="1" dirty="0">
              <a:solidFill>
                <a:schemeClr val="accent2"/>
              </a:solidFill>
            </a:rPr>
            <a:t>Feb 25 – Aug 25</a:t>
          </a:r>
          <a:endParaRPr lang="en-GB" sz="1400" b="1" dirty="0">
            <a:solidFill>
              <a:schemeClr val="accent2"/>
            </a:solidFill>
          </a:endParaRPr>
        </a:p>
      </dgm:t>
    </dgm:pt>
    <dgm:pt modelId="{30A0389C-AA72-4C79-B240-0F5AACFB9665}" type="parTrans" cxnId="{0D1EE5DF-58CE-450F-BB07-71B3DDAD0CA5}">
      <dgm:prSet/>
      <dgm:spPr/>
      <dgm:t>
        <a:bodyPr/>
        <a:lstStyle/>
        <a:p>
          <a:endParaRPr lang="en-GB"/>
        </a:p>
      </dgm:t>
    </dgm:pt>
    <dgm:pt modelId="{6DA780CB-0D35-449B-AB01-A86E45321169}" type="sibTrans" cxnId="{0D1EE5DF-58CE-450F-BB07-71B3DDAD0CA5}">
      <dgm:prSet/>
      <dgm:spPr/>
      <dgm:t>
        <a:bodyPr/>
        <a:lstStyle/>
        <a:p>
          <a:endParaRPr lang="en-GB"/>
        </a:p>
      </dgm:t>
    </dgm:pt>
    <dgm:pt modelId="{BE651AFC-F745-4669-AB1C-021B4D71B364}">
      <dgm:prSet phldrT="[Text]" custT="1"/>
      <dgm:spPr/>
      <dgm:t>
        <a:bodyPr/>
        <a:lstStyle/>
        <a:p>
          <a:r>
            <a:rPr lang="en-US" sz="1400" b="1" dirty="0"/>
            <a:t>Procurement Process </a:t>
          </a:r>
        </a:p>
        <a:p>
          <a:r>
            <a:rPr lang="en-US" sz="1400" b="1" dirty="0">
              <a:solidFill>
                <a:schemeClr val="accent2"/>
              </a:solidFill>
            </a:rPr>
            <a:t>July 24 – Jan 25</a:t>
          </a:r>
          <a:endParaRPr lang="en-GB" sz="1400" b="1" dirty="0">
            <a:solidFill>
              <a:schemeClr val="accent2"/>
            </a:solidFill>
          </a:endParaRPr>
        </a:p>
      </dgm:t>
    </dgm:pt>
    <dgm:pt modelId="{246DAC43-43B7-45D7-98B7-8F3C469C3B11}" type="parTrans" cxnId="{25F7AF92-DB90-4003-8431-60F07FAC96F6}">
      <dgm:prSet/>
      <dgm:spPr/>
      <dgm:t>
        <a:bodyPr/>
        <a:lstStyle/>
        <a:p>
          <a:endParaRPr lang="en-GB"/>
        </a:p>
      </dgm:t>
    </dgm:pt>
    <dgm:pt modelId="{4A1989FB-2851-482E-B8F6-03FCCF722502}" type="sibTrans" cxnId="{25F7AF92-DB90-4003-8431-60F07FAC96F6}">
      <dgm:prSet/>
      <dgm:spPr/>
      <dgm:t>
        <a:bodyPr/>
        <a:lstStyle/>
        <a:p>
          <a:endParaRPr lang="en-GB"/>
        </a:p>
      </dgm:t>
    </dgm:pt>
    <dgm:pt modelId="{C5B455FC-6672-4DEE-B74F-63D4D10BD8AF}">
      <dgm:prSet phldrT="[Text]" custT="1"/>
      <dgm:spPr/>
      <dgm:t>
        <a:bodyPr/>
        <a:lstStyle/>
        <a:p>
          <a:r>
            <a:rPr lang="en-US" sz="1400" b="1" dirty="0"/>
            <a:t>Market Engagement </a:t>
          </a:r>
        </a:p>
        <a:p>
          <a:r>
            <a:rPr lang="en-US" sz="1400" b="1" dirty="0">
              <a:solidFill>
                <a:schemeClr val="accent2"/>
              </a:solidFill>
            </a:rPr>
            <a:t>Sept 23 – Jan 24</a:t>
          </a:r>
          <a:endParaRPr lang="en-GB" sz="1400" b="1" dirty="0">
            <a:solidFill>
              <a:schemeClr val="accent2"/>
            </a:solidFill>
          </a:endParaRPr>
        </a:p>
      </dgm:t>
    </dgm:pt>
    <dgm:pt modelId="{804D5519-B90F-4614-BF8E-9E48FC6F1258}" type="parTrans" cxnId="{948B6981-F1E4-43CC-8305-8DE8A823E915}">
      <dgm:prSet/>
      <dgm:spPr/>
      <dgm:t>
        <a:bodyPr/>
        <a:lstStyle/>
        <a:p>
          <a:endParaRPr lang="en-GB"/>
        </a:p>
      </dgm:t>
    </dgm:pt>
    <dgm:pt modelId="{61421218-08D2-4051-85FB-56D158A39973}" type="sibTrans" cxnId="{948B6981-F1E4-43CC-8305-8DE8A823E915}">
      <dgm:prSet/>
      <dgm:spPr/>
      <dgm:t>
        <a:bodyPr/>
        <a:lstStyle/>
        <a:p>
          <a:endParaRPr lang="en-GB"/>
        </a:p>
      </dgm:t>
    </dgm:pt>
    <dgm:pt modelId="{82B1EEE1-2AA8-478B-AA19-B9BA73367907}">
      <dgm:prSet phldrT="[Text]" custT="1"/>
      <dgm:spPr/>
      <dgm:t>
        <a:bodyPr/>
        <a:lstStyle/>
        <a:p>
          <a:r>
            <a:rPr lang="en-US" sz="1400" b="1" dirty="0"/>
            <a:t>Final Specification / Board approval to procure</a:t>
          </a:r>
        </a:p>
        <a:p>
          <a:r>
            <a:rPr lang="en-GB" sz="1400" b="1" dirty="0">
              <a:solidFill>
                <a:schemeClr val="accent2"/>
              </a:solidFill>
            </a:rPr>
            <a:t>June 24</a:t>
          </a:r>
        </a:p>
      </dgm:t>
    </dgm:pt>
    <dgm:pt modelId="{8D1BA46F-CF1C-4568-B45E-7FB0B7DD78BB}" type="parTrans" cxnId="{A1771A4D-01B9-4A3D-B26C-72F7892C8349}">
      <dgm:prSet/>
      <dgm:spPr/>
      <dgm:t>
        <a:bodyPr/>
        <a:lstStyle/>
        <a:p>
          <a:endParaRPr lang="en-GB"/>
        </a:p>
      </dgm:t>
    </dgm:pt>
    <dgm:pt modelId="{F8A4EDFF-A15C-4A61-80F3-AE9709816D8F}" type="sibTrans" cxnId="{A1771A4D-01B9-4A3D-B26C-72F7892C8349}">
      <dgm:prSet/>
      <dgm:spPr/>
      <dgm:t>
        <a:bodyPr/>
        <a:lstStyle/>
        <a:p>
          <a:endParaRPr lang="en-GB"/>
        </a:p>
      </dgm:t>
    </dgm:pt>
    <dgm:pt modelId="{3930355F-8A71-4CA3-A6D5-DA698E6EC559}">
      <dgm:prSet phldrT="[Text]" custT="1"/>
      <dgm:spPr/>
      <dgm:t>
        <a:bodyPr/>
        <a:lstStyle/>
        <a:p>
          <a:r>
            <a:rPr lang="en-US" sz="1400" b="1" dirty="0"/>
            <a:t>Draft Specification </a:t>
          </a:r>
          <a:r>
            <a:rPr lang="en-US" sz="1400" dirty="0"/>
            <a:t>Activity / Cost Modelling </a:t>
          </a:r>
        </a:p>
        <a:p>
          <a:r>
            <a:rPr lang="en-GB" sz="1400" b="1" dirty="0">
              <a:solidFill>
                <a:schemeClr val="accent2"/>
              </a:solidFill>
            </a:rPr>
            <a:t>Feb 24</a:t>
          </a:r>
        </a:p>
      </dgm:t>
    </dgm:pt>
    <dgm:pt modelId="{F2159C62-452D-4569-AF17-910062EA6DA4}" type="parTrans" cxnId="{B7053E56-7381-475D-94B4-E38DF6235893}">
      <dgm:prSet/>
      <dgm:spPr/>
      <dgm:t>
        <a:bodyPr/>
        <a:lstStyle/>
        <a:p>
          <a:endParaRPr lang="en-GB"/>
        </a:p>
      </dgm:t>
    </dgm:pt>
    <dgm:pt modelId="{ACCE7864-97E3-40E2-A10D-DF2726744EDF}" type="sibTrans" cxnId="{B7053E56-7381-475D-94B4-E38DF6235893}">
      <dgm:prSet/>
      <dgm:spPr/>
      <dgm:t>
        <a:bodyPr/>
        <a:lstStyle/>
        <a:p>
          <a:endParaRPr lang="en-GB"/>
        </a:p>
      </dgm:t>
    </dgm:pt>
    <dgm:pt modelId="{A8699C6D-1CA8-4AE5-A136-385694C50F6E}">
      <dgm:prSet phldrT="[Text]" custT="1"/>
      <dgm:spPr/>
      <dgm:t>
        <a:bodyPr/>
        <a:lstStyle/>
        <a:p>
          <a:r>
            <a:rPr lang="en-US" sz="1400" b="1" dirty="0"/>
            <a:t>Second Engagement with Options</a:t>
          </a:r>
        </a:p>
        <a:p>
          <a:r>
            <a:rPr lang="en-US" sz="1400" b="1" dirty="0">
              <a:solidFill>
                <a:schemeClr val="accent2"/>
              </a:solidFill>
            </a:rPr>
            <a:t>Mar 24 – May 24</a:t>
          </a:r>
          <a:endParaRPr lang="en-GB" sz="1400" b="1" dirty="0">
            <a:solidFill>
              <a:schemeClr val="accent2"/>
            </a:solidFill>
          </a:endParaRPr>
        </a:p>
      </dgm:t>
    </dgm:pt>
    <dgm:pt modelId="{B057A145-AA14-4559-85D7-01197A015CE9}" type="parTrans" cxnId="{E5C72F34-CC8A-4D3F-B36C-CDA7AABE5759}">
      <dgm:prSet/>
      <dgm:spPr/>
      <dgm:t>
        <a:bodyPr/>
        <a:lstStyle/>
        <a:p>
          <a:endParaRPr lang="en-GB"/>
        </a:p>
      </dgm:t>
    </dgm:pt>
    <dgm:pt modelId="{7EBFFC24-76FC-46DF-B21A-E80C6AB36AB4}" type="sibTrans" cxnId="{E5C72F34-CC8A-4D3F-B36C-CDA7AABE5759}">
      <dgm:prSet/>
      <dgm:spPr/>
      <dgm:t>
        <a:bodyPr/>
        <a:lstStyle/>
        <a:p>
          <a:endParaRPr lang="en-GB"/>
        </a:p>
      </dgm:t>
    </dgm:pt>
    <dgm:pt modelId="{32B037CB-E38D-4505-9D58-3C3FCA8AAF29}">
      <dgm:prSet phldrT="[Text]" custT="1"/>
      <dgm:spPr/>
      <dgm:t>
        <a:bodyPr/>
        <a:lstStyle/>
        <a:p>
          <a:r>
            <a:rPr lang="en-US" sz="1400" b="1" dirty="0"/>
            <a:t>Go Live Prior to Winter </a:t>
          </a:r>
        </a:p>
        <a:p>
          <a:r>
            <a:rPr lang="en-US" sz="1400" b="1" dirty="0">
              <a:solidFill>
                <a:schemeClr val="accent2"/>
              </a:solidFill>
            </a:rPr>
            <a:t>Sept 25</a:t>
          </a:r>
          <a:endParaRPr lang="en-GB" sz="1400" b="1" dirty="0">
            <a:solidFill>
              <a:schemeClr val="accent2"/>
            </a:solidFill>
          </a:endParaRPr>
        </a:p>
      </dgm:t>
    </dgm:pt>
    <dgm:pt modelId="{C82644BE-17B1-404E-B9D7-7CDF7648D715}" type="parTrans" cxnId="{1BE522F7-BAE0-42B9-97DC-3CD586F76607}">
      <dgm:prSet/>
      <dgm:spPr/>
      <dgm:t>
        <a:bodyPr/>
        <a:lstStyle/>
        <a:p>
          <a:endParaRPr lang="en-GB"/>
        </a:p>
      </dgm:t>
    </dgm:pt>
    <dgm:pt modelId="{D0926FB3-7712-4076-A50A-F49FC0AE5412}" type="sibTrans" cxnId="{1BE522F7-BAE0-42B9-97DC-3CD586F76607}">
      <dgm:prSet/>
      <dgm:spPr/>
      <dgm:t>
        <a:bodyPr/>
        <a:lstStyle/>
        <a:p>
          <a:endParaRPr lang="en-GB"/>
        </a:p>
      </dgm:t>
    </dgm:pt>
    <dgm:pt modelId="{C5D3F516-7959-4D8F-BA49-A821A98D084F}" type="pres">
      <dgm:prSet presAssocID="{525FF5DD-13EE-4482-AEED-1BFB5BDDAA72}" presName="Name0" presStyleCnt="0">
        <dgm:presLayoutVars>
          <dgm:dir/>
          <dgm:resizeHandles val="exact"/>
        </dgm:presLayoutVars>
      </dgm:prSet>
      <dgm:spPr/>
    </dgm:pt>
    <dgm:pt modelId="{E359C703-7609-43E3-B0D3-B219B946398D}" type="pres">
      <dgm:prSet presAssocID="{525FF5DD-13EE-4482-AEED-1BFB5BDDAA72}" presName="arrow" presStyleLbl="bgShp" presStyleIdx="0" presStyleCnt="1"/>
      <dgm:spPr/>
    </dgm:pt>
    <dgm:pt modelId="{D0889BAB-2B85-4714-B7F5-7DF6C4232385}" type="pres">
      <dgm:prSet presAssocID="{525FF5DD-13EE-4482-AEED-1BFB5BDDAA72}" presName="points" presStyleCnt="0"/>
      <dgm:spPr/>
    </dgm:pt>
    <dgm:pt modelId="{36FD186E-20EC-453B-B3B7-74E2EB253EAF}" type="pres">
      <dgm:prSet presAssocID="{61F65A5B-20F7-430C-9FF4-71B6EF9E2E8E}" presName="compositeA" presStyleCnt="0"/>
      <dgm:spPr/>
    </dgm:pt>
    <dgm:pt modelId="{BF864E1A-7AD2-436A-A7A4-3EC6DDB02884}" type="pres">
      <dgm:prSet presAssocID="{61F65A5B-20F7-430C-9FF4-71B6EF9E2E8E}" presName="textA" presStyleLbl="revTx" presStyleIdx="0" presStyleCnt="8" custScaleX="234392">
        <dgm:presLayoutVars>
          <dgm:bulletEnabled val="1"/>
        </dgm:presLayoutVars>
      </dgm:prSet>
      <dgm:spPr/>
    </dgm:pt>
    <dgm:pt modelId="{54219EFA-D382-494D-8885-299145B88CA5}" type="pres">
      <dgm:prSet presAssocID="{61F65A5B-20F7-430C-9FF4-71B6EF9E2E8E}" presName="circleA" presStyleLbl="node1" presStyleIdx="0" presStyleCnt="8"/>
      <dgm:spPr/>
    </dgm:pt>
    <dgm:pt modelId="{C04FD52C-A6CE-4EF1-A8BB-A26F014FB09D}" type="pres">
      <dgm:prSet presAssocID="{61F65A5B-20F7-430C-9FF4-71B6EF9E2E8E}" presName="spaceA" presStyleCnt="0"/>
      <dgm:spPr/>
    </dgm:pt>
    <dgm:pt modelId="{AF373713-6CDA-4D9E-9BA3-49942FBAFB00}" type="pres">
      <dgm:prSet presAssocID="{137AD9AD-1F41-45EC-938D-9A058DA24850}" presName="space" presStyleCnt="0"/>
      <dgm:spPr/>
    </dgm:pt>
    <dgm:pt modelId="{83757FFB-A5E4-47AA-88BF-B1054D5109F2}" type="pres">
      <dgm:prSet presAssocID="{C5B455FC-6672-4DEE-B74F-63D4D10BD8AF}" presName="compositeB" presStyleCnt="0"/>
      <dgm:spPr/>
    </dgm:pt>
    <dgm:pt modelId="{3B278694-7B1E-4634-9C6C-0DFE914E2D37}" type="pres">
      <dgm:prSet presAssocID="{C5B455FC-6672-4DEE-B74F-63D4D10BD8AF}" presName="textB" presStyleLbl="revTx" presStyleIdx="1" presStyleCnt="8" custScaleX="251558">
        <dgm:presLayoutVars>
          <dgm:bulletEnabled val="1"/>
        </dgm:presLayoutVars>
      </dgm:prSet>
      <dgm:spPr/>
    </dgm:pt>
    <dgm:pt modelId="{07B8FF23-C9D7-4D21-8B06-F258CBB9B628}" type="pres">
      <dgm:prSet presAssocID="{C5B455FC-6672-4DEE-B74F-63D4D10BD8AF}" presName="circleB" presStyleLbl="node1" presStyleIdx="1" presStyleCnt="8"/>
      <dgm:spPr/>
    </dgm:pt>
    <dgm:pt modelId="{9DA87673-E3B2-4BC0-BB74-B3DCEE5211B5}" type="pres">
      <dgm:prSet presAssocID="{C5B455FC-6672-4DEE-B74F-63D4D10BD8AF}" presName="spaceB" presStyleCnt="0"/>
      <dgm:spPr/>
    </dgm:pt>
    <dgm:pt modelId="{33B079B0-5FEC-4CBF-8182-C8716A070B5D}" type="pres">
      <dgm:prSet presAssocID="{61421218-08D2-4051-85FB-56D158A39973}" presName="space" presStyleCnt="0"/>
      <dgm:spPr/>
    </dgm:pt>
    <dgm:pt modelId="{6C457D9F-58C8-4B24-B3AC-C6FE26994DC2}" type="pres">
      <dgm:prSet presAssocID="{3930355F-8A71-4CA3-A6D5-DA698E6EC559}" presName="compositeA" presStyleCnt="0"/>
      <dgm:spPr/>
    </dgm:pt>
    <dgm:pt modelId="{0323F0BB-DA53-4FB2-A0DD-ABA6E0B5C595}" type="pres">
      <dgm:prSet presAssocID="{3930355F-8A71-4CA3-A6D5-DA698E6EC559}" presName="textA" presStyleLbl="revTx" presStyleIdx="2" presStyleCnt="8" custScaleX="286748">
        <dgm:presLayoutVars>
          <dgm:bulletEnabled val="1"/>
        </dgm:presLayoutVars>
      </dgm:prSet>
      <dgm:spPr/>
    </dgm:pt>
    <dgm:pt modelId="{BC9E515E-B67E-4D86-944F-83079A8B52F6}" type="pres">
      <dgm:prSet presAssocID="{3930355F-8A71-4CA3-A6D5-DA698E6EC559}" presName="circleA" presStyleLbl="node1" presStyleIdx="2" presStyleCnt="8"/>
      <dgm:spPr/>
    </dgm:pt>
    <dgm:pt modelId="{E598D0A2-D81A-4B97-9368-FAFF3BDEC836}" type="pres">
      <dgm:prSet presAssocID="{3930355F-8A71-4CA3-A6D5-DA698E6EC559}" presName="spaceA" presStyleCnt="0"/>
      <dgm:spPr/>
    </dgm:pt>
    <dgm:pt modelId="{20576AE9-84A8-4552-8122-1DAE3DB70854}" type="pres">
      <dgm:prSet presAssocID="{ACCE7864-97E3-40E2-A10D-DF2726744EDF}" presName="space" presStyleCnt="0"/>
      <dgm:spPr/>
    </dgm:pt>
    <dgm:pt modelId="{C055C766-2EBE-4256-8441-F6221E9EE80D}" type="pres">
      <dgm:prSet presAssocID="{A8699C6D-1CA8-4AE5-A136-385694C50F6E}" presName="compositeB" presStyleCnt="0"/>
      <dgm:spPr/>
    </dgm:pt>
    <dgm:pt modelId="{74AA16BE-6374-4435-93D4-8E3438BC6D25}" type="pres">
      <dgm:prSet presAssocID="{A8699C6D-1CA8-4AE5-A136-385694C50F6E}" presName="textB" presStyleLbl="revTx" presStyleIdx="3" presStyleCnt="8" custScaleX="245692">
        <dgm:presLayoutVars>
          <dgm:bulletEnabled val="1"/>
        </dgm:presLayoutVars>
      </dgm:prSet>
      <dgm:spPr/>
    </dgm:pt>
    <dgm:pt modelId="{877C347F-CC7C-4504-AD9D-BE8B1CC64EB6}" type="pres">
      <dgm:prSet presAssocID="{A8699C6D-1CA8-4AE5-A136-385694C50F6E}" presName="circleB" presStyleLbl="node1" presStyleIdx="3" presStyleCnt="8"/>
      <dgm:spPr/>
    </dgm:pt>
    <dgm:pt modelId="{0E3F7468-DE9D-4699-B675-167AD9DDCFEA}" type="pres">
      <dgm:prSet presAssocID="{A8699C6D-1CA8-4AE5-A136-385694C50F6E}" presName="spaceB" presStyleCnt="0"/>
      <dgm:spPr/>
    </dgm:pt>
    <dgm:pt modelId="{C05AD93E-5749-4CC6-BD27-B6D617A7B71E}" type="pres">
      <dgm:prSet presAssocID="{7EBFFC24-76FC-46DF-B21A-E80C6AB36AB4}" presName="space" presStyleCnt="0"/>
      <dgm:spPr/>
    </dgm:pt>
    <dgm:pt modelId="{8DAE08FF-6B04-44F8-9CBF-06F5FCCDDA0F}" type="pres">
      <dgm:prSet presAssocID="{82B1EEE1-2AA8-478B-AA19-B9BA73367907}" presName="compositeA" presStyleCnt="0"/>
      <dgm:spPr/>
    </dgm:pt>
    <dgm:pt modelId="{814EEE74-7A44-4743-9170-9B5FF7CEEF30}" type="pres">
      <dgm:prSet presAssocID="{82B1EEE1-2AA8-478B-AA19-B9BA73367907}" presName="textA" presStyleLbl="revTx" presStyleIdx="4" presStyleCnt="8" custScaleX="296365">
        <dgm:presLayoutVars>
          <dgm:bulletEnabled val="1"/>
        </dgm:presLayoutVars>
      </dgm:prSet>
      <dgm:spPr/>
    </dgm:pt>
    <dgm:pt modelId="{63F7E668-848F-4F86-A764-0BCC0CF52D86}" type="pres">
      <dgm:prSet presAssocID="{82B1EEE1-2AA8-478B-AA19-B9BA73367907}" presName="circleA" presStyleLbl="node1" presStyleIdx="4" presStyleCnt="8"/>
      <dgm:spPr/>
    </dgm:pt>
    <dgm:pt modelId="{A78ECCCD-148E-4312-9917-1A4E28961CD7}" type="pres">
      <dgm:prSet presAssocID="{82B1EEE1-2AA8-478B-AA19-B9BA73367907}" presName="spaceA" presStyleCnt="0"/>
      <dgm:spPr/>
    </dgm:pt>
    <dgm:pt modelId="{63AD2050-C906-489F-95E2-088448C92A44}" type="pres">
      <dgm:prSet presAssocID="{F8A4EDFF-A15C-4A61-80F3-AE9709816D8F}" presName="space" presStyleCnt="0"/>
      <dgm:spPr/>
    </dgm:pt>
    <dgm:pt modelId="{41943418-6D65-492D-8BC4-BDF16D13DEDE}" type="pres">
      <dgm:prSet presAssocID="{BE651AFC-F745-4669-AB1C-021B4D71B364}" presName="compositeB" presStyleCnt="0"/>
      <dgm:spPr/>
    </dgm:pt>
    <dgm:pt modelId="{1CEB8CE7-8D38-4AC7-A842-7F550D4D3136}" type="pres">
      <dgm:prSet presAssocID="{BE651AFC-F745-4669-AB1C-021B4D71B364}" presName="textB" presStyleLbl="revTx" presStyleIdx="5" presStyleCnt="8" custScaleX="277864">
        <dgm:presLayoutVars>
          <dgm:bulletEnabled val="1"/>
        </dgm:presLayoutVars>
      </dgm:prSet>
      <dgm:spPr/>
    </dgm:pt>
    <dgm:pt modelId="{640605AA-DF9C-4EAB-8BDA-42D0BC7E678D}" type="pres">
      <dgm:prSet presAssocID="{BE651AFC-F745-4669-AB1C-021B4D71B364}" presName="circleB" presStyleLbl="node1" presStyleIdx="5" presStyleCnt="8"/>
      <dgm:spPr/>
    </dgm:pt>
    <dgm:pt modelId="{8A40A27A-5B6C-4BA1-ADAE-E86F32D1C9AB}" type="pres">
      <dgm:prSet presAssocID="{BE651AFC-F745-4669-AB1C-021B4D71B364}" presName="spaceB" presStyleCnt="0"/>
      <dgm:spPr/>
    </dgm:pt>
    <dgm:pt modelId="{37BE8C8A-4E08-4470-81BA-33F6FDC916D5}" type="pres">
      <dgm:prSet presAssocID="{4A1989FB-2851-482E-B8F6-03FCCF722502}" presName="space" presStyleCnt="0"/>
      <dgm:spPr/>
    </dgm:pt>
    <dgm:pt modelId="{3944CA9A-3380-42BB-AF2E-9A7FCDE3864E}" type="pres">
      <dgm:prSet presAssocID="{155AA4D7-48A9-49CE-9993-92FA118368DE}" presName="compositeA" presStyleCnt="0"/>
      <dgm:spPr/>
    </dgm:pt>
    <dgm:pt modelId="{8496B712-1FFC-4A03-B46B-7CD4A0779CE2}" type="pres">
      <dgm:prSet presAssocID="{155AA4D7-48A9-49CE-9993-92FA118368DE}" presName="textA" presStyleLbl="revTx" presStyleIdx="6" presStyleCnt="8" custScaleX="299586">
        <dgm:presLayoutVars>
          <dgm:bulletEnabled val="1"/>
        </dgm:presLayoutVars>
      </dgm:prSet>
      <dgm:spPr/>
    </dgm:pt>
    <dgm:pt modelId="{FDD85903-6B26-4FBB-B8EF-55DF407AC743}" type="pres">
      <dgm:prSet presAssocID="{155AA4D7-48A9-49CE-9993-92FA118368DE}" presName="circleA" presStyleLbl="node1" presStyleIdx="6" presStyleCnt="8"/>
      <dgm:spPr/>
    </dgm:pt>
    <dgm:pt modelId="{5CC331E4-C491-448E-B717-FD4F0F563D37}" type="pres">
      <dgm:prSet presAssocID="{155AA4D7-48A9-49CE-9993-92FA118368DE}" presName="spaceA" presStyleCnt="0"/>
      <dgm:spPr/>
    </dgm:pt>
    <dgm:pt modelId="{F92EDA34-93C2-4319-B1E8-0C6920D2F7AE}" type="pres">
      <dgm:prSet presAssocID="{6DA780CB-0D35-449B-AB01-A86E45321169}" presName="space" presStyleCnt="0"/>
      <dgm:spPr/>
    </dgm:pt>
    <dgm:pt modelId="{E410F587-556D-49B3-90E2-CB682E4E0C9C}" type="pres">
      <dgm:prSet presAssocID="{32B037CB-E38D-4505-9D58-3C3FCA8AAF29}" presName="compositeB" presStyleCnt="0"/>
      <dgm:spPr/>
    </dgm:pt>
    <dgm:pt modelId="{7FC2FBEB-9F79-4546-A9B3-3259E5E92B33}" type="pres">
      <dgm:prSet presAssocID="{32B037CB-E38D-4505-9D58-3C3FCA8AAF29}" presName="textB" presStyleLbl="revTx" presStyleIdx="7" presStyleCnt="8" custScaleX="203863">
        <dgm:presLayoutVars>
          <dgm:bulletEnabled val="1"/>
        </dgm:presLayoutVars>
      </dgm:prSet>
      <dgm:spPr/>
    </dgm:pt>
    <dgm:pt modelId="{21A5BFF7-41D8-44BF-9CC2-464F44056EA2}" type="pres">
      <dgm:prSet presAssocID="{32B037CB-E38D-4505-9D58-3C3FCA8AAF29}" presName="circleB" presStyleLbl="node1" presStyleIdx="7" presStyleCnt="8"/>
      <dgm:spPr/>
    </dgm:pt>
    <dgm:pt modelId="{C563B9B1-9D2E-4CD3-B2F9-5A3167E9EE39}" type="pres">
      <dgm:prSet presAssocID="{32B037CB-E38D-4505-9D58-3C3FCA8AAF29}" presName="spaceB" presStyleCnt="0"/>
      <dgm:spPr/>
    </dgm:pt>
  </dgm:ptLst>
  <dgm:cxnLst>
    <dgm:cxn modelId="{188B3700-A7D9-4CB7-87CD-51AD20B7BFDB}" type="presOf" srcId="{BE651AFC-F745-4669-AB1C-021B4D71B364}" destId="{1CEB8CE7-8D38-4AC7-A842-7F550D4D3136}" srcOrd="0" destOrd="0" presId="urn:microsoft.com/office/officeart/2005/8/layout/hProcess11"/>
    <dgm:cxn modelId="{13354B01-64D5-4B34-AF19-A1531EAE7FF3}" type="presOf" srcId="{525FF5DD-13EE-4482-AEED-1BFB5BDDAA72}" destId="{C5D3F516-7959-4D8F-BA49-A821A98D084F}" srcOrd="0" destOrd="0" presId="urn:microsoft.com/office/officeart/2005/8/layout/hProcess11"/>
    <dgm:cxn modelId="{02BEA824-B1DF-44C9-9405-932BF7AD1A9D}" type="presOf" srcId="{82B1EEE1-2AA8-478B-AA19-B9BA73367907}" destId="{814EEE74-7A44-4743-9170-9B5FF7CEEF30}" srcOrd="0" destOrd="0" presId="urn:microsoft.com/office/officeart/2005/8/layout/hProcess11"/>
    <dgm:cxn modelId="{E5C72F34-CC8A-4D3F-B36C-CDA7AABE5759}" srcId="{525FF5DD-13EE-4482-AEED-1BFB5BDDAA72}" destId="{A8699C6D-1CA8-4AE5-A136-385694C50F6E}" srcOrd="3" destOrd="0" parTransId="{B057A145-AA14-4559-85D7-01197A015CE9}" sibTransId="{7EBFFC24-76FC-46DF-B21A-E80C6AB36AB4}"/>
    <dgm:cxn modelId="{A1771A4D-01B9-4A3D-B26C-72F7892C8349}" srcId="{525FF5DD-13EE-4482-AEED-1BFB5BDDAA72}" destId="{82B1EEE1-2AA8-478B-AA19-B9BA73367907}" srcOrd="4" destOrd="0" parTransId="{8D1BA46F-CF1C-4568-B45E-7FB0B7DD78BB}" sibTransId="{F8A4EDFF-A15C-4A61-80F3-AE9709816D8F}"/>
    <dgm:cxn modelId="{B7053E56-7381-475D-94B4-E38DF6235893}" srcId="{525FF5DD-13EE-4482-AEED-1BFB5BDDAA72}" destId="{3930355F-8A71-4CA3-A6D5-DA698E6EC559}" srcOrd="2" destOrd="0" parTransId="{F2159C62-452D-4569-AF17-910062EA6DA4}" sibTransId="{ACCE7864-97E3-40E2-A10D-DF2726744EDF}"/>
    <dgm:cxn modelId="{9EEE1A57-5A34-4440-8374-B3A81BDAC0C9}" type="presOf" srcId="{32B037CB-E38D-4505-9D58-3C3FCA8AAF29}" destId="{7FC2FBEB-9F79-4546-A9B3-3259E5E92B33}" srcOrd="0" destOrd="0" presId="urn:microsoft.com/office/officeart/2005/8/layout/hProcess11"/>
    <dgm:cxn modelId="{9B0F0B7B-C04A-481B-BC06-0AFB15A53E07}" type="presOf" srcId="{3930355F-8A71-4CA3-A6D5-DA698E6EC559}" destId="{0323F0BB-DA53-4FB2-A0DD-ABA6E0B5C595}" srcOrd="0" destOrd="0" presId="urn:microsoft.com/office/officeart/2005/8/layout/hProcess11"/>
    <dgm:cxn modelId="{948B6981-F1E4-43CC-8305-8DE8A823E915}" srcId="{525FF5DD-13EE-4482-AEED-1BFB5BDDAA72}" destId="{C5B455FC-6672-4DEE-B74F-63D4D10BD8AF}" srcOrd="1" destOrd="0" parTransId="{804D5519-B90F-4614-BF8E-9E48FC6F1258}" sibTransId="{61421218-08D2-4051-85FB-56D158A39973}"/>
    <dgm:cxn modelId="{25F7AF92-DB90-4003-8431-60F07FAC96F6}" srcId="{525FF5DD-13EE-4482-AEED-1BFB5BDDAA72}" destId="{BE651AFC-F745-4669-AB1C-021B4D71B364}" srcOrd="5" destOrd="0" parTransId="{246DAC43-43B7-45D7-98B7-8F3C469C3B11}" sibTransId="{4A1989FB-2851-482E-B8F6-03FCCF722502}"/>
    <dgm:cxn modelId="{0D1BDBA8-B9DA-4007-837B-368E1F29EC52}" type="presOf" srcId="{61F65A5B-20F7-430C-9FF4-71B6EF9E2E8E}" destId="{BF864E1A-7AD2-436A-A7A4-3EC6DDB02884}" srcOrd="0" destOrd="0" presId="urn:microsoft.com/office/officeart/2005/8/layout/hProcess11"/>
    <dgm:cxn modelId="{C9E4CEB5-014F-4FA9-8A85-0AEA6430FA25}" type="presOf" srcId="{155AA4D7-48A9-49CE-9993-92FA118368DE}" destId="{8496B712-1FFC-4A03-B46B-7CD4A0779CE2}" srcOrd="0" destOrd="0" presId="urn:microsoft.com/office/officeart/2005/8/layout/hProcess11"/>
    <dgm:cxn modelId="{7009DCBC-AD50-4A95-AE42-F42A8431C535}" srcId="{525FF5DD-13EE-4482-AEED-1BFB5BDDAA72}" destId="{61F65A5B-20F7-430C-9FF4-71B6EF9E2E8E}" srcOrd="0" destOrd="0" parTransId="{20499C42-C030-402A-93ED-95DFA82ECF3D}" sibTransId="{137AD9AD-1F41-45EC-938D-9A058DA24850}"/>
    <dgm:cxn modelId="{6B84DECB-0F84-423F-870C-3C0D67170717}" type="presOf" srcId="{C5B455FC-6672-4DEE-B74F-63D4D10BD8AF}" destId="{3B278694-7B1E-4634-9C6C-0DFE914E2D37}" srcOrd="0" destOrd="0" presId="urn:microsoft.com/office/officeart/2005/8/layout/hProcess11"/>
    <dgm:cxn modelId="{4E8D16CF-1F13-4237-873D-836B12D41EC4}" type="presOf" srcId="{A8699C6D-1CA8-4AE5-A136-385694C50F6E}" destId="{74AA16BE-6374-4435-93D4-8E3438BC6D25}" srcOrd="0" destOrd="0" presId="urn:microsoft.com/office/officeart/2005/8/layout/hProcess11"/>
    <dgm:cxn modelId="{0D1EE5DF-58CE-450F-BB07-71B3DDAD0CA5}" srcId="{525FF5DD-13EE-4482-AEED-1BFB5BDDAA72}" destId="{155AA4D7-48A9-49CE-9993-92FA118368DE}" srcOrd="6" destOrd="0" parTransId="{30A0389C-AA72-4C79-B240-0F5AACFB9665}" sibTransId="{6DA780CB-0D35-449B-AB01-A86E45321169}"/>
    <dgm:cxn modelId="{1BE522F7-BAE0-42B9-97DC-3CD586F76607}" srcId="{525FF5DD-13EE-4482-AEED-1BFB5BDDAA72}" destId="{32B037CB-E38D-4505-9D58-3C3FCA8AAF29}" srcOrd="7" destOrd="0" parTransId="{C82644BE-17B1-404E-B9D7-7CDF7648D715}" sibTransId="{D0926FB3-7712-4076-A50A-F49FC0AE5412}"/>
    <dgm:cxn modelId="{0871462F-6EC6-4B86-BA41-A9AB8C8A7C83}" type="presParOf" srcId="{C5D3F516-7959-4D8F-BA49-A821A98D084F}" destId="{E359C703-7609-43E3-B0D3-B219B946398D}" srcOrd="0" destOrd="0" presId="urn:microsoft.com/office/officeart/2005/8/layout/hProcess11"/>
    <dgm:cxn modelId="{94174917-8662-4784-A355-4506A35BB098}" type="presParOf" srcId="{C5D3F516-7959-4D8F-BA49-A821A98D084F}" destId="{D0889BAB-2B85-4714-B7F5-7DF6C4232385}" srcOrd="1" destOrd="0" presId="urn:microsoft.com/office/officeart/2005/8/layout/hProcess11"/>
    <dgm:cxn modelId="{AF4B2363-30CA-4C2A-A0CD-77D47A8B9A6F}" type="presParOf" srcId="{D0889BAB-2B85-4714-B7F5-7DF6C4232385}" destId="{36FD186E-20EC-453B-B3B7-74E2EB253EAF}" srcOrd="0" destOrd="0" presId="urn:microsoft.com/office/officeart/2005/8/layout/hProcess11"/>
    <dgm:cxn modelId="{6BF37B77-88A3-4771-BEDC-D3AF9F1A4A65}" type="presParOf" srcId="{36FD186E-20EC-453B-B3B7-74E2EB253EAF}" destId="{BF864E1A-7AD2-436A-A7A4-3EC6DDB02884}" srcOrd="0" destOrd="0" presId="urn:microsoft.com/office/officeart/2005/8/layout/hProcess11"/>
    <dgm:cxn modelId="{17FF6E3F-33EB-45CE-A96A-F9A45CD17EF6}" type="presParOf" srcId="{36FD186E-20EC-453B-B3B7-74E2EB253EAF}" destId="{54219EFA-D382-494D-8885-299145B88CA5}" srcOrd="1" destOrd="0" presId="urn:microsoft.com/office/officeart/2005/8/layout/hProcess11"/>
    <dgm:cxn modelId="{95FCE408-1E61-4006-930E-CDD24EB52A85}" type="presParOf" srcId="{36FD186E-20EC-453B-B3B7-74E2EB253EAF}" destId="{C04FD52C-A6CE-4EF1-A8BB-A26F014FB09D}" srcOrd="2" destOrd="0" presId="urn:microsoft.com/office/officeart/2005/8/layout/hProcess11"/>
    <dgm:cxn modelId="{CBA18C70-C8F8-4F63-958D-A176AF07CFD6}" type="presParOf" srcId="{D0889BAB-2B85-4714-B7F5-7DF6C4232385}" destId="{AF373713-6CDA-4D9E-9BA3-49942FBAFB00}" srcOrd="1" destOrd="0" presId="urn:microsoft.com/office/officeart/2005/8/layout/hProcess11"/>
    <dgm:cxn modelId="{E930207E-7694-4199-8FC7-9D2B452B2D6B}" type="presParOf" srcId="{D0889BAB-2B85-4714-B7F5-7DF6C4232385}" destId="{83757FFB-A5E4-47AA-88BF-B1054D5109F2}" srcOrd="2" destOrd="0" presId="urn:microsoft.com/office/officeart/2005/8/layout/hProcess11"/>
    <dgm:cxn modelId="{040A0CD7-962E-4185-86E7-9EEAD4E7D2C6}" type="presParOf" srcId="{83757FFB-A5E4-47AA-88BF-B1054D5109F2}" destId="{3B278694-7B1E-4634-9C6C-0DFE914E2D37}" srcOrd="0" destOrd="0" presId="urn:microsoft.com/office/officeart/2005/8/layout/hProcess11"/>
    <dgm:cxn modelId="{35A45CF4-DD4A-4632-8F56-B65155951374}" type="presParOf" srcId="{83757FFB-A5E4-47AA-88BF-B1054D5109F2}" destId="{07B8FF23-C9D7-4D21-8B06-F258CBB9B628}" srcOrd="1" destOrd="0" presId="urn:microsoft.com/office/officeart/2005/8/layout/hProcess11"/>
    <dgm:cxn modelId="{07885D5F-FEAD-47F0-B9E0-347DBBE09227}" type="presParOf" srcId="{83757FFB-A5E4-47AA-88BF-B1054D5109F2}" destId="{9DA87673-E3B2-4BC0-BB74-B3DCEE5211B5}" srcOrd="2" destOrd="0" presId="urn:microsoft.com/office/officeart/2005/8/layout/hProcess11"/>
    <dgm:cxn modelId="{61B4A40A-A9F0-413C-9229-0B3C9B099A18}" type="presParOf" srcId="{D0889BAB-2B85-4714-B7F5-7DF6C4232385}" destId="{33B079B0-5FEC-4CBF-8182-C8716A070B5D}" srcOrd="3" destOrd="0" presId="urn:microsoft.com/office/officeart/2005/8/layout/hProcess11"/>
    <dgm:cxn modelId="{89287C93-2EA7-4842-ACAB-6C01EFA164D4}" type="presParOf" srcId="{D0889BAB-2B85-4714-B7F5-7DF6C4232385}" destId="{6C457D9F-58C8-4B24-B3AC-C6FE26994DC2}" srcOrd="4" destOrd="0" presId="urn:microsoft.com/office/officeart/2005/8/layout/hProcess11"/>
    <dgm:cxn modelId="{4A59813D-9FD7-428E-AE80-042C6AE98D8F}" type="presParOf" srcId="{6C457D9F-58C8-4B24-B3AC-C6FE26994DC2}" destId="{0323F0BB-DA53-4FB2-A0DD-ABA6E0B5C595}" srcOrd="0" destOrd="0" presId="urn:microsoft.com/office/officeart/2005/8/layout/hProcess11"/>
    <dgm:cxn modelId="{21043655-1F99-45F8-B1C4-15E2221EFAAA}" type="presParOf" srcId="{6C457D9F-58C8-4B24-B3AC-C6FE26994DC2}" destId="{BC9E515E-B67E-4D86-944F-83079A8B52F6}" srcOrd="1" destOrd="0" presId="urn:microsoft.com/office/officeart/2005/8/layout/hProcess11"/>
    <dgm:cxn modelId="{562C896B-7B52-49FB-8EDD-F263342A9198}" type="presParOf" srcId="{6C457D9F-58C8-4B24-B3AC-C6FE26994DC2}" destId="{E598D0A2-D81A-4B97-9368-FAFF3BDEC836}" srcOrd="2" destOrd="0" presId="urn:microsoft.com/office/officeart/2005/8/layout/hProcess11"/>
    <dgm:cxn modelId="{9D7A8479-A6EC-484C-B385-4F24C1FF54C7}" type="presParOf" srcId="{D0889BAB-2B85-4714-B7F5-7DF6C4232385}" destId="{20576AE9-84A8-4552-8122-1DAE3DB70854}" srcOrd="5" destOrd="0" presId="urn:microsoft.com/office/officeart/2005/8/layout/hProcess11"/>
    <dgm:cxn modelId="{F9476229-B734-4AD2-8D25-0B09AFD47F8C}" type="presParOf" srcId="{D0889BAB-2B85-4714-B7F5-7DF6C4232385}" destId="{C055C766-2EBE-4256-8441-F6221E9EE80D}" srcOrd="6" destOrd="0" presId="urn:microsoft.com/office/officeart/2005/8/layout/hProcess11"/>
    <dgm:cxn modelId="{04B72867-BBA1-489D-A8C5-DFBE12803530}" type="presParOf" srcId="{C055C766-2EBE-4256-8441-F6221E9EE80D}" destId="{74AA16BE-6374-4435-93D4-8E3438BC6D25}" srcOrd="0" destOrd="0" presId="urn:microsoft.com/office/officeart/2005/8/layout/hProcess11"/>
    <dgm:cxn modelId="{6A5DC4FD-3536-46CF-8B8E-9F72984EB7CA}" type="presParOf" srcId="{C055C766-2EBE-4256-8441-F6221E9EE80D}" destId="{877C347F-CC7C-4504-AD9D-BE8B1CC64EB6}" srcOrd="1" destOrd="0" presId="urn:microsoft.com/office/officeart/2005/8/layout/hProcess11"/>
    <dgm:cxn modelId="{E9CFBD34-A94A-43FE-92D1-2B34542FB619}" type="presParOf" srcId="{C055C766-2EBE-4256-8441-F6221E9EE80D}" destId="{0E3F7468-DE9D-4699-B675-167AD9DDCFEA}" srcOrd="2" destOrd="0" presId="urn:microsoft.com/office/officeart/2005/8/layout/hProcess11"/>
    <dgm:cxn modelId="{6CF178FE-9FC6-402E-B3A8-422EB85B20C8}" type="presParOf" srcId="{D0889BAB-2B85-4714-B7F5-7DF6C4232385}" destId="{C05AD93E-5749-4CC6-BD27-B6D617A7B71E}" srcOrd="7" destOrd="0" presId="urn:microsoft.com/office/officeart/2005/8/layout/hProcess11"/>
    <dgm:cxn modelId="{809A0A9B-B646-4130-A083-4EBB149C1A09}" type="presParOf" srcId="{D0889BAB-2B85-4714-B7F5-7DF6C4232385}" destId="{8DAE08FF-6B04-44F8-9CBF-06F5FCCDDA0F}" srcOrd="8" destOrd="0" presId="urn:microsoft.com/office/officeart/2005/8/layout/hProcess11"/>
    <dgm:cxn modelId="{14695303-460A-4B7B-9B62-D90DF04C9CED}" type="presParOf" srcId="{8DAE08FF-6B04-44F8-9CBF-06F5FCCDDA0F}" destId="{814EEE74-7A44-4743-9170-9B5FF7CEEF30}" srcOrd="0" destOrd="0" presId="urn:microsoft.com/office/officeart/2005/8/layout/hProcess11"/>
    <dgm:cxn modelId="{C1FCE3CB-404D-4230-A9B8-242095C6FF52}" type="presParOf" srcId="{8DAE08FF-6B04-44F8-9CBF-06F5FCCDDA0F}" destId="{63F7E668-848F-4F86-A764-0BCC0CF52D86}" srcOrd="1" destOrd="0" presId="urn:microsoft.com/office/officeart/2005/8/layout/hProcess11"/>
    <dgm:cxn modelId="{76F918E3-0659-4E4A-AD4D-F27D343CE627}" type="presParOf" srcId="{8DAE08FF-6B04-44F8-9CBF-06F5FCCDDA0F}" destId="{A78ECCCD-148E-4312-9917-1A4E28961CD7}" srcOrd="2" destOrd="0" presId="urn:microsoft.com/office/officeart/2005/8/layout/hProcess11"/>
    <dgm:cxn modelId="{87F9F89B-861C-4AA8-9A3C-D5EE5319F80A}" type="presParOf" srcId="{D0889BAB-2B85-4714-B7F5-7DF6C4232385}" destId="{63AD2050-C906-489F-95E2-088448C92A44}" srcOrd="9" destOrd="0" presId="urn:microsoft.com/office/officeart/2005/8/layout/hProcess11"/>
    <dgm:cxn modelId="{4519DFD0-6862-4429-BE00-9DE71D5FDC9D}" type="presParOf" srcId="{D0889BAB-2B85-4714-B7F5-7DF6C4232385}" destId="{41943418-6D65-492D-8BC4-BDF16D13DEDE}" srcOrd="10" destOrd="0" presId="urn:microsoft.com/office/officeart/2005/8/layout/hProcess11"/>
    <dgm:cxn modelId="{D6D9E542-A18C-45A6-B89A-F20EB2442CA5}" type="presParOf" srcId="{41943418-6D65-492D-8BC4-BDF16D13DEDE}" destId="{1CEB8CE7-8D38-4AC7-A842-7F550D4D3136}" srcOrd="0" destOrd="0" presId="urn:microsoft.com/office/officeart/2005/8/layout/hProcess11"/>
    <dgm:cxn modelId="{B809E31B-C58D-4886-927B-E1223B1D9D07}" type="presParOf" srcId="{41943418-6D65-492D-8BC4-BDF16D13DEDE}" destId="{640605AA-DF9C-4EAB-8BDA-42D0BC7E678D}" srcOrd="1" destOrd="0" presId="urn:microsoft.com/office/officeart/2005/8/layout/hProcess11"/>
    <dgm:cxn modelId="{3195F419-134F-4020-A8CB-3777FF9E2A3B}" type="presParOf" srcId="{41943418-6D65-492D-8BC4-BDF16D13DEDE}" destId="{8A40A27A-5B6C-4BA1-ADAE-E86F32D1C9AB}" srcOrd="2" destOrd="0" presId="urn:microsoft.com/office/officeart/2005/8/layout/hProcess11"/>
    <dgm:cxn modelId="{A662E3E1-2805-4349-B95D-5DB37D3FEF4C}" type="presParOf" srcId="{D0889BAB-2B85-4714-B7F5-7DF6C4232385}" destId="{37BE8C8A-4E08-4470-81BA-33F6FDC916D5}" srcOrd="11" destOrd="0" presId="urn:microsoft.com/office/officeart/2005/8/layout/hProcess11"/>
    <dgm:cxn modelId="{2E16473D-F31F-4890-89A0-5778EC0B97B0}" type="presParOf" srcId="{D0889BAB-2B85-4714-B7F5-7DF6C4232385}" destId="{3944CA9A-3380-42BB-AF2E-9A7FCDE3864E}" srcOrd="12" destOrd="0" presId="urn:microsoft.com/office/officeart/2005/8/layout/hProcess11"/>
    <dgm:cxn modelId="{81A14553-E37D-4C39-AC02-15843A555D98}" type="presParOf" srcId="{3944CA9A-3380-42BB-AF2E-9A7FCDE3864E}" destId="{8496B712-1FFC-4A03-B46B-7CD4A0779CE2}" srcOrd="0" destOrd="0" presId="urn:microsoft.com/office/officeart/2005/8/layout/hProcess11"/>
    <dgm:cxn modelId="{DC1B7C21-DA9C-4085-86DA-09BCB545B1B3}" type="presParOf" srcId="{3944CA9A-3380-42BB-AF2E-9A7FCDE3864E}" destId="{FDD85903-6B26-4FBB-B8EF-55DF407AC743}" srcOrd="1" destOrd="0" presId="urn:microsoft.com/office/officeart/2005/8/layout/hProcess11"/>
    <dgm:cxn modelId="{FF0ED417-A66D-49D4-A8F0-73D99ED6DCFE}" type="presParOf" srcId="{3944CA9A-3380-42BB-AF2E-9A7FCDE3864E}" destId="{5CC331E4-C491-448E-B717-FD4F0F563D37}" srcOrd="2" destOrd="0" presId="urn:microsoft.com/office/officeart/2005/8/layout/hProcess11"/>
    <dgm:cxn modelId="{B0BA7FF9-3B93-45BB-8E58-6C83D301D4DA}" type="presParOf" srcId="{D0889BAB-2B85-4714-B7F5-7DF6C4232385}" destId="{F92EDA34-93C2-4319-B1E8-0C6920D2F7AE}" srcOrd="13" destOrd="0" presId="urn:microsoft.com/office/officeart/2005/8/layout/hProcess11"/>
    <dgm:cxn modelId="{C84B4BF3-C46B-4EDE-B7A9-2BF4277937CE}" type="presParOf" srcId="{D0889BAB-2B85-4714-B7F5-7DF6C4232385}" destId="{E410F587-556D-49B3-90E2-CB682E4E0C9C}" srcOrd="14" destOrd="0" presId="urn:microsoft.com/office/officeart/2005/8/layout/hProcess11"/>
    <dgm:cxn modelId="{93509AA9-3668-494F-8818-FC338E11DBB6}" type="presParOf" srcId="{E410F587-556D-49B3-90E2-CB682E4E0C9C}" destId="{7FC2FBEB-9F79-4546-A9B3-3259E5E92B33}" srcOrd="0" destOrd="0" presId="urn:microsoft.com/office/officeart/2005/8/layout/hProcess11"/>
    <dgm:cxn modelId="{98446CD6-78C3-4C9C-AB73-FF24FC34CDD7}" type="presParOf" srcId="{E410F587-556D-49B3-90E2-CB682E4E0C9C}" destId="{21A5BFF7-41D8-44BF-9CC2-464F44056EA2}" srcOrd="1" destOrd="0" presId="urn:microsoft.com/office/officeart/2005/8/layout/hProcess11"/>
    <dgm:cxn modelId="{8B1BCD29-B173-4B7F-85A8-CD638CE21769}" type="presParOf" srcId="{E410F587-556D-49B3-90E2-CB682E4E0C9C}" destId="{C563B9B1-9D2E-4CD3-B2F9-5A3167E9EE39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59C703-7609-43E3-B0D3-B219B946398D}">
      <dsp:nvSpPr>
        <dsp:cNvPr id="0" name=""/>
        <dsp:cNvSpPr/>
      </dsp:nvSpPr>
      <dsp:spPr>
        <a:xfrm>
          <a:off x="0" y="1538825"/>
          <a:ext cx="11685864" cy="2051766"/>
        </a:xfrm>
        <a:prstGeom prst="notched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64E1A-7AD2-436A-A7A4-3EC6DDB02884}">
      <dsp:nvSpPr>
        <dsp:cNvPr id="0" name=""/>
        <dsp:cNvSpPr/>
      </dsp:nvSpPr>
      <dsp:spPr>
        <a:xfrm>
          <a:off x="206479" y="0"/>
          <a:ext cx="1110616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CB and Local Design Workshops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July 23 – Dec 23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206479" y="0"/>
        <a:ext cx="1110616" cy="2051766"/>
      </dsp:txXfrm>
    </dsp:sp>
    <dsp:sp modelId="{54219EFA-D382-494D-8885-299145B88CA5}">
      <dsp:nvSpPr>
        <dsp:cNvPr id="0" name=""/>
        <dsp:cNvSpPr/>
      </dsp:nvSpPr>
      <dsp:spPr>
        <a:xfrm>
          <a:off x="515289" y="2318209"/>
          <a:ext cx="492997" cy="492997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278694-7B1E-4634-9C6C-0DFE914E2D37}">
      <dsp:nvSpPr>
        <dsp:cNvPr id="0" name=""/>
        <dsp:cNvSpPr/>
      </dsp:nvSpPr>
      <dsp:spPr>
        <a:xfrm>
          <a:off x="1341746" y="3077650"/>
          <a:ext cx="1191953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arket Engagement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Sept 23 – Jan 24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1341746" y="3077650"/>
        <a:ext cx="1191953" cy="2051766"/>
      </dsp:txXfrm>
    </dsp:sp>
    <dsp:sp modelId="{07B8FF23-C9D7-4D21-8B06-F258CBB9B628}">
      <dsp:nvSpPr>
        <dsp:cNvPr id="0" name=""/>
        <dsp:cNvSpPr/>
      </dsp:nvSpPr>
      <dsp:spPr>
        <a:xfrm>
          <a:off x="1691224" y="2318209"/>
          <a:ext cx="492997" cy="492997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323F0BB-DA53-4FB2-A0DD-ABA6E0B5C595}">
      <dsp:nvSpPr>
        <dsp:cNvPr id="0" name=""/>
        <dsp:cNvSpPr/>
      </dsp:nvSpPr>
      <dsp:spPr>
        <a:xfrm>
          <a:off x="2558349" y="0"/>
          <a:ext cx="1358693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raft Specification </a:t>
          </a:r>
          <a:r>
            <a:rPr lang="en-US" sz="1400" kern="1200" dirty="0"/>
            <a:t>Activity / Cost Modelling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/>
              </a:solidFill>
            </a:rPr>
            <a:t>Feb 24</a:t>
          </a:r>
        </a:p>
      </dsp:txBody>
      <dsp:txXfrm>
        <a:off x="2558349" y="0"/>
        <a:ext cx="1358693" cy="2051766"/>
      </dsp:txXfrm>
    </dsp:sp>
    <dsp:sp modelId="{BC9E515E-B67E-4D86-944F-83079A8B52F6}">
      <dsp:nvSpPr>
        <dsp:cNvPr id="0" name=""/>
        <dsp:cNvSpPr/>
      </dsp:nvSpPr>
      <dsp:spPr>
        <a:xfrm>
          <a:off x="2991197" y="2318209"/>
          <a:ext cx="492997" cy="492997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AA16BE-6374-4435-93D4-8E3438BC6D25}">
      <dsp:nvSpPr>
        <dsp:cNvPr id="0" name=""/>
        <dsp:cNvSpPr/>
      </dsp:nvSpPr>
      <dsp:spPr>
        <a:xfrm>
          <a:off x="3941693" y="3077650"/>
          <a:ext cx="1164158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econd Engagement with Option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Mar 24 – May 24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3941693" y="3077650"/>
        <a:ext cx="1164158" cy="2051766"/>
      </dsp:txXfrm>
    </dsp:sp>
    <dsp:sp modelId="{877C347F-CC7C-4504-AD9D-BE8B1CC64EB6}">
      <dsp:nvSpPr>
        <dsp:cNvPr id="0" name=""/>
        <dsp:cNvSpPr/>
      </dsp:nvSpPr>
      <dsp:spPr>
        <a:xfrm>
          <a:off x="4277274" y="2318209"/>
          <a:ext cx="492997" cy="492997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14EEE74-7A44-4743-9170-9B5FF7CEEF30}">
      <dsp:nvSpPr>
        <dsp:cNvPr id="0" name=""/>
        <dsp:cNvSpPr/>
      </dsp:nvSpPr>
      <dsp:spPr>
        <a:xfrm>
          <a:off x="5130501" y="0"/>
          <a:ext cx="1404261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inal Specification / Board approval to procur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/>
              </a:solidFill>
            </a:rPr>
            <a:t>June 24</a:t>
          </a:r>
        </a:p>
      </dsp:txBody>
      <dsp:txXfrm>
        <a:off x="5130501" y="0"/>
        <a:ext cx="1404261" cy="2051766"/>
      </dsp:txXfrm>
    </dsp:sp>
    <dsp:sp modelId="{63F7E668-848F-4F86-A764-0BCC0CF52D86}">
      <dsp:nvSpPr>
        <dsp:cNvPr id="0" name=""/>
        <dsp:cNvSpPr/>
      </dsp:nvSpPr>
      <dsp:spPr>
        <a:xfrm>
          <a:off x="5586134" y="2318209"/>
          <a:ext cx="492997" cy="492997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CEB8CE7-8D38-4AC7-A842-7F550D4D3136}">
      <dsp:nvSpPr>
        <dsp:cNvPr id="0" name=""/>
        <dsp:cNvSpPr/>
      </dsp:nvSpPr>
      <dsp:spPr>
        <a:xfrm>
          <a:off x="6559413" y="3077650"/>
          <a:ext cx="1316598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rocurement Process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July 24 – Jan 25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6559413" y="3077650"/>
        <a:ext cx="1316598" cy="2051766"/>
      </dsp:txXfrm>
    </dsp:sp>
    <dsp:sp modelId="{640605AA-DF9C-4EAB-8BDA-42D0BC7E678D}">
      <dsp:nvSpPr>
        <dsp:cNvPr id="0" name=""/>
        <dsp:cNvSpPr/>
      </dsp:nvSpPr>
      <dsp:spPr>
        <a:xfrm>
          <a:off x="6971214" y="2318209"/>
          <a:ext cx="492997" cy="492997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496B712-1FFC-4A03-B46B-7CD4A0779CE2}">
      <dsp:nvSpPr>
        <dsp:cNvPr id="0" name=""/>
        <dsp:cNvSpPr/>
      </dsp:nvSpPr>
      <dsp:spPr>
        <a:xfrm>
          <a:off x="7900662" y="0"/>
          <a:ext cx="1419524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obilisation of New Service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Feb 25 – Aug 25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7900662" y="0"/>
        <a:ext cx="1419524" cy="2051766"/>
      </dsp:txXfrm>
    </dsp:sp>
    <dsp:sp modelId="{FDD85903-6B26-4FBB-B8EF-55DF407AC743}">
      <dsp:nvSpPr>
        <dsp:cNvPr id="0" name=""/>
        <dsp:cNvSpPr/>
      </dsp:nvSpPr>
      <dsp:spPr>
        <a:xfrm>
          <a:off x="8363926" y="2318209"/>
          <a:ext cx="492997" cy="492997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FC2FBEB-9F79-4546-A9B3-3259E5E92B33}">
      <dsp:nvSpPr>
        <dsp:cNvPr id="0" name=""/>
        <dsp:cNvSpPr/>
      </dsp:nvSpPr>
      <dsp:spPr>
        <a:xfrm>
          <a:off x="9344836" y="3077650"/>
          <a:ext cx="965961" cy="20517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Go Live Prior to Winter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/>
              </a:solidFill>
            </a:rPr>
            <a:t>Sept 25</a:t>
          </a:r>
          <a:endParaRPr lang="en-GB" sz="1400" b="1" kern="1200" dirty="0">
            <a:solidFill>
              <a:schemeClr val="accent2"/>
            </a:solidFill>
          </a:endParaRPr>
        </a:p>
      </dsp:txBody>
      <dsp:txXfrm>
        <a:off x="9344836" y="3077650"/>
        <a:ext cx="965961" cy="2051766"/>
      </dsp:txXfrm>
    </dsp:sp>
    <dsp:sp modelId="{21A5BFF7-41D8-44BF-9CC2-464F44056EA2}">
      <dsp:nvSpPr>
        <dsp:cNvPr id="0" name=""/>
        <dsp:cNvSpPr/>
      </dsp:nvSpPr>
      <dsp:spPr>
        <a:xfrm>
          <a:off x="9581318" y="2318209"/>
          <a:ext cx="492997" cy="492997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9/5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6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jp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444926" y="6523754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65A44D-C158-ADDB-937B-C7E6C4E56CEE}"/>
              </a:ext>
            </a:extLst>
          </p:cNvPr>
          <p:cNvSpPr txBox="1"/>
          <p:nvPr userDrawn="1"/>
        </p:nvSpPr>
        <p:spPr>
          <a:xfrm>
            <a:off x="0" y="6523754"/>
            <a:ext cx="1219200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GB" sz="16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•  We are </a:t>
            </a:r>
            <a:r>
              <a:rPr lang="en-GB" sz="16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•  We are </a:t>
            </a:r>
            <a:r>
              <a:rPr lang="en-GB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•  We are </a:t>
            </a:r>
            <a:r>
              <a:rPr lang="en-GB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8100" imgH="38100" progId="TCLayout.ActiveDocument.1">
                  <p:embed/>
                </p:oleObj>
              </mc:Choice>
              <mc:Fallback>
                <p:oleObj name="think-cell Slide" r:id="rId17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8CAD46B-B43E-C346-3F23-6F93B1084E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257" y="1143149"/>
            <a:ext cx="11606781" cy="5352135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32972B-055B-92B3-226F-52A3B9761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for 111 IUC Procurement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28424CB-5263-19A4-32BD-5C76F926DB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5398262"/>
              </p:ext>
            </p:extLst>
          </p:nvPr>
        </p:nvGraphicFramePr>
        <p:xfrm>
          <a:off x="402672" y="1143149"/>
          <a:ext cx="11685864" cy="5129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46003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EL CCG Document" ma:contentTypeID="0x0101009CEB1DA2CC907747900298E7F35D742E00297FD45B5B922249B52F3A186AD3A9A0" ma:contentTypeVersion="3" ma:contentTypeDescription="" ma:contentTypeScope="" ma:versionID="7edd5cd76bf36c3ec87f9c91c41302b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haredContentType xmlns="Microsoft.SharePoint.Taxonomy.ContentTypeSync" SourceId="c65629fe-fa3b-4d8f-b0ac-4a13011ce303" ContentTypeId="0x0101009CEB1DA2CC907747900298E7F35D742E" PreviousValue="false"/>
</file>

<file path=customXml/itemProps1.xml><?xml version="1.0" encoding="utf-8"?>
<ds:datastoreItem xmlns:ds="http://schemas.openxmlformats.org/officeDocument/2006/customXml" ds:itemID="{140EE44F-C823-40BC-AFFA-BBDCEF3A20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9066BB-6E68-4A9D-9848-A5363CFD3E4F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86791B22-7371-4794-A74C-D4A34E49D7DB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4</TotalTime>
  <Words>72</Words>
  <Application>Microsoft Office PowerPoint</Application>
  <PresentationFormat>Widescreen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Timeline for 111 IUC Procur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Smart</dc:creator>
  <cp:lastModifiedBy>Paterson, Kieran - North East London CCG</cp:lastModifiedBy>
  <cp:revision>10</cp:revision>
  <dcterms:created xsi:type="dcterms:W3CDTF">2022-06-15T14:33:04Z</dcterms:created>
  <dcterms:modified xsi:type="dcterms:W3CDTF">2023-09-05T13:4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lcf76f155ced4ddcb4097134ff3c332f">
    <vt:lpwstr/>
  </property>
  <property fmtid="{D5CDD505-2E9C-101B-9397-08002B2CF9AE}" pid="4" name="TaxCatchAll">
    <vt:lpwstr/>
  </property>
  <property fmtid="{D5CDD505-2E9C-101B-9397-08002B2CF9AE}" pid="5" name="ContentTypeId">
    <vt:lpwstr>0x0101009CEB1DA2CC907747900298E7F35D742E00297FD45B5B922249B52F3A186AD3A9A0</vt:lpwstr>
  </property>
</Properties>
</file>